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96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pt-BR" dirty="0">
                <a:solidFill>
                  <a:schemeClr val="accent1"/>
                </a:solidFill>
              </a:rPr>
              <a:t>Question &amp; Answer Slide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8CE1AEA-C899-72FE-D271-C80CEC93F832}"/>
              </a:ext>
            </a:extLst>
          </p:cNvPr>
          <p:cNvGrpSpPr/>
          <p:nvPr/>
        </p:nvGrpSpPr>
        <p:grpSpPr>
          <a:xfrm>
            <a:off x="714375" y="2113909"/>
            <a:ext cx="16871950" cy="1428853"/>
            <a:chOff x="2993398" y="2217078"/>
            <a:chExt cx="16871950" cy="1428853"/>
          </a:xfrm>
        </p:grpSpPr>
        <p:sp>
          <p:nvSpPr>
            <p:cNvPr id="8" name="TextBox 7"/>
            <p:cNvSpPr txBox="1"/>
            <p:nvPr/>
          </p:nvSpPr>
          <p:spPr>
            <a:xfrm>
              <a:off x="2993398" y="2217078"/>
              <a:ext cx="1046761" cy="1428853"/>
            </a:xfrm>
            <a:prstGeom prst="rect">
              <a:avLst/>
            </a:prstGeom>
            <a:noFill/>
          </p:spPr>
          <p:txBody>
            <a:bodyPr wrap="none" lIns="0" tIns="54864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900"/>
                </a:spcAft>
                <a:buClr>
                  <a:schemeClr val="accent2"/>
                </a:buClr>
                <a:buSzPct val="70000"/>
              </a:pPr>
              <a:r>
                <a:rPr lang="en-US" sz="10500" b="1" dirty="0">
                  <a:solidFill>
                    <a:schemeClr val="accent2"/>
                  </a:solidFill>
                </a:rPr>
                <a:t>Q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407610" y="2285173"/>
              <a:ext cx="15457738" cy="1292662"/>
            </a:xfrm>
            <a:prstGeom prst="rect">
              <a:avLst/>
            </a:prstGeom>
            <a:noFill/>
            <a:ln w="63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pt-BR" sz="2800" b="1" dirty="0">
                  <a:solidFill>
                    <a:schemeClr val="accent2"/>
                  </a:solidFill>
                </a:rPr>
                <a:t>Lorem ipsum dolor sit amet, diam eloquentiam neglegentur no eos, ne usu omittam copiosae insolens. His an nihil verear verterem, volutpat scriptorem est ea, in quem malis maiestatis vel. 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79B74E-FE28-CB47-7150-80DD64D1CA77}"/>
              </a:ext>
            </a:extLst>
          </p:cNvPr>
          <p:cNvGrpSpPr/>
          <p:nvPr/>
        </p:nvGrpSpPr>
        <p:grpSpPr>
          <a:xfrm>
            <a:off x="714375" y="3591880"/>
            <a:ext cx="16859250" cy="2828073"/>
            <a:chOff x="714375" y="3591880"/>
            <a:chExt cx="16859250" cy="2828073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CFBD5F7-DDAF-2BA2-0296-883C9D62FBA3}"/>
                </a:ext>
              </a:extLst>
            </p:cNvPr>
            <p:cNvGrpSpPr/>
            <p:nvPr/>
          </p:nvGrpSpPr>
          <p:grpSpPr>
            <a:xfrm>
              <a:off x="714375" y="3591880"/>
              <a:ext cx="16859250" cy="2546992"/>
              <a:chOff x="714375" y="3591880"/>
              <a:chExt cx="16859250" cy="2546992"/>
            </a:xfrm>
          </p:grpSpPr>
          <p:grpSp>
            <p:nvGrpSpPr>
              <p:cNvPr id="20" name="Group 19"/>
              <p:cNvGrpSpPr/>
              <p:nvPr/>
            </p:nvGrpSpPr>
            <p:grpSpPr>
              <a:xfrm>
                <a:off x="714375" y="5138750"/>
                <a:ext cx="15756411" cy="1000122"/>
                <a:chOff x="651506" y="3409952"/>
                <a:chExt cx="7143790" cy="666748"/>
              </a:xfrm>
            </p:grpSpPr>
            <p:sp>
              <p:nvSpPr>
                <p:cNvPr id="12" name="Right Bracket 11"/>
                <p:cNvSpPr/>
                <p:nvPr/>
              </p:nvSpPr>
              <p:spPr>
                <a:xfrm rot="5400000">
                  <a:off x="4228165" y="509568"/>
                  <a:ext cx="158116" cy="6976147"/>
                </a:xfrm>
                <a:prstGeom prst="rightBracket">
                  <a:avLst>
                    <a:gd name="adj" fmla="val 0"/>
                  </a:avLst>
                </a:prstGeom>
                <a:ln w="76200">
                  <a:solidFill>
                    <a:schemeClr val="accent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/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651506" y="3409952"/>
                  <a:ext cx="339094" cy="5302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094" h="530226">
                      <a:moveTo>
                        <a:pt x="56310" y="0"/>
                      </a:moveTo>
                      <a:lnTo>
                        <a:pt x="112040" y="0"/>
                      </a:lnTo>
                      <a:lnTo>
                        <a:pt x="112040" y="201558"/>
                      </a:lnTo>
                      <a:lnTo>
                        <a:pt x="227054" y="201558"/>
                      </a:lnTo>
                      <a:lnTo>
                        <a:pt x="227054" y="0"/>
                      </a:lnTo>
                      <a:lnTo>
                        <a:pt x="282784" y="0"/>
                      </a:lnTo>
                      <a:lnTo>
                        <a:pt x="282784" y="201558"/>
                      </a:lnTo>
                      <a:lnTo>
                        <a:pt x="339094" y="201558"/>
                      </a:lnTo>
                      <a:cubicBezTo>
                        <a:pt x="339094" y="241900"/>
                        <a:pt x="339094" y="282241"/>
                        <a:pt x="339094" y="322583"/>
                      </a:cubicBezTo>
                      <a:cubicBezTo>
                        <a:pt x="339094" y="437261"/>
                        <a:pt x="263185" y="530226"/>
                        <a:pt x="169547" y="530226"/>
                      </a:cubicBezTo>
                      <a:lnTo>
                        <a:pt x="169547" y="530226"/>
                      </a:lnTo>
                      <a:cubicBezTo>
                        <a:pt x="75909" y="530226"/>
                        <a:pt x="0" y="437261"/>
                        <a:pt x="0" y="322583"/>
                      </a:cubicBezTo>
                      <a:lnTo>
                        <a:pt x="0" y="201558"/>
                      </a:lnTo>
                      <a:lnTo>
                        <a:pt x="56310" y="20155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" name="Google Shape;14504;p84">
                <a:extLst>
                  <a:ext uri="{FF2B5EF4-FFF2-40B4-BE49-F238E27FC236}">
                    <a16:creationId xmlns:a16="http://schemas.microsoft.com/office/drawing/2014/main" id="{F5ED3027-7CEE-498C-6E1E-5CAF8DD27446}"/>
                  </a:ext>
                </a:extLst>
              </p:cNvPr>
              <p:cNvGrpSpPr/>
              <p:nvPr/>
            </p:nvGrpSpPr>
            <p:grpSpPr>
              <a:xfrm>
                <a:off x="15401989" y="3591880"/>
                <a:ext cx="2171636" cy="2324963"/>
                <a:chOff x="7055134" y="2919170"/>
                <a:chExt cx="290321" cy="310820"/>
              </a:xfrm>
              <a:solidFill>
                <a:schemeClr val="accent1"/>
              </a:solidFill>
            </p:grpSpPr>
            <p:sp>
              <p:nvSpPr>
                <p:cNvPr id="4" name="Google Shape;14505;p84">
                  <a:extLst>
                    <a:ext uri="{FF2B5EF4-FFF2-40B4-BE49-F238E27FC236}">
                      <a16:creationId xmlns:a16="http://schemas.microsoft.com/office/drawing/2014/main" id="{0E1C501C-FA35-CA7A-7C01-97085DEB3D5C}"/>
                    </a:ext>
                  </a:extLst>
                </p:cNvPr>
                <p:cNvSpPr/>
                <p:nvPr/>
              </p:nvSpPr>
              <p:spPr>
                <a:xfrm>
                  <a:off x="7102497" y="2970989"/>
                  <a:ext cx="191044" cy="259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02" h="8137" extrusionOk="0">
                      <a:moveTo>
                        <a:pt x="3097" y="314"/>
                      </a:moveTo>
                      <a:cubicBezTo>
                        <a:pt x="3739" y="314"/>
                        <a:pt x="4347" y="552"/>
                        <a:pt x="4835" y="980"/>
                      </a:cubicBezTo>
                      <a:cubicBezTo>
                        <a:pt x="5394" y="1481"/>
                        <a:pt x="5716" y="2195"/>
                        <a:pt x="5716" y="2933"/>
                      </a:cubicBezTo>
                      <a:cubicBezTo>
                        <a:pt x="5704" y="3445"/>
                        <a:pt x="5549" y="3933"/>
                        <a:pt x="5287" y="4350"/>
                      </a:cubicBezTo>
                      <a:cubicBezTo>
                        <a:pt x="5013" y="4767"/>
                        <a:pt x="4644" y="5100"/>
                        <a:pt x="4204" y="5302"/>
                      </a:cubicBezTo>
                      <a:cubicBezTo>
                        <a:pt x="3930" y="5433"/>
                        <a:pt x="3751" y="5719"/>
                        <a:pt x="3751" y="6029"/>
                      </a:cubicBezTo>
                      <a:lnTo>
                        <a:pt x="3751" y="6207"/>
                      </a:lnTo>
                      <a:lnTo>
                        <a:pt x="2430" y="6207"/>
                      </a:lnTo>
                      <a:lnTo>
                        <a:pt x="2430" y="6029"/>
                      </a:lnTo>
                      <a:cubicBezTo>
                        <a:pt x="2430" y="5719"/>
                        <a:pt x="2251" y="5433"/>
                        <a:pt x="1965" y="5302"/>
                      </a:cubicBezTo>
                      <a:cubicBezTo>
                        <a:pt x="942" y="4814"/>
                        <a:pt x="346" y="3731"/>
                        <a:pt x="489" y="2588"/>
                      </a:cubicBezTo>
                      <a:cubicBezTo>
                        <a:pt x="644" y="1421"/>
                        <a:pt x="1608" y="457"/>
                        <a:pt x="2799" y="326"/>
                      </a:cubicBezTo>
                      <a:cubicBezTo>
                        <a:pt x="2906" y="314"/>
                        <a:pt x="3013" y="314"/>
                        <a:pt x="3097" y="314"/>
                      </a:cubicBezTo>
                      <a:close/>
                      <a:moveTo>
                        <a:pt x="3728" y="6505"/>
                      </a:moveTo>
                      <a:lnTo>
                        <a:pt x="3739" y="7017"/>
                      </a:lnTo>
                      <a:cubicBezTo>
                        <a:pt x="3739" y="7100"/>
                        <a:pt x="3668" y="7195"/>
                        <a:pt x="3561" y="7195"/>
                      </a:cubicBezTo>
                      <a:lnTo>
                        <a:pt x="2573" y="7195"/>
                      </a:lnTo>
                      <a:cubicBezTo>
                        <a:pt x="2489" y="7195"/>
                        <a:pt x="2394" y="7124"/>
                        <a:pt x="2394" y="7017"/>
                      </a:cubicBezTo>
                      <a:lnTo>
                        <a:pt x="2394" y="6505"/>
                      </a:lnTo>
                      <a:close/>
                      <a:moveTo>
                        <a:pt x="3394" y="7469"/>
                      </a:moveTo>
                      <a:lnTo>
                        <a:pt x="3406" y="7648"/>
                      </a:lnTo>
                      <a:cubicBezTo>
                        <a:pt x="3406" y="7743"/>
                        <a:pt x="3335" y="7838"/>
                        <a:pt x="3228" y="7838"/>
                      </a:cubicBezTo>
                      <a:lnTo>
                        <a:pt x="2906" y="7838"/>
                      </a:lnTo>
                      <a:cubicBezTo>
                        <a:pt x="2811" y="7838"/>
                        <a:pt x="2727" y="7755"/>
                        <a:pt x="2727" y="7648"/>
                      </a:cubicBezTo>
                      <a:lnTo>
                        <a:pt x="2727" y="7469"/>
                      </a:lnTo>
                      <a:close/>
                      <a:moveTo>
                        <a:pt x="3056" y="0"/>
                      </a:moveTo>
                      <a:cubicBezTo>
                        <a:pt x="2951" y="0"/>
                        <a:pt x="2845" y="6"/>
                        <a:pt x="2739" y="16"/>
                      </a:cubicBezTo>
                      <a:cubicBezTo>
                        <a:pt x="1418" y="171"/>
                        <a:pt x="322" y="1230"/>
                        <a:pt x="168" y="2552"/>
                      </a:cubicBezTo>
                      <a:cubicBezTo>
                        <a:pt x="1" y="3814"/>
                        <a:pt x="668" y="5040"/>
                        <a:pt x="1811" y="5564"/>
                      </a:cubicBezTo>
                      <a:cubicBezTo>
                        <a:pt x="1977" y="5648"/>
                        <a:pt x="2096" y="5826"/>
                        <a:pt x="2096" y="6017"/>
                      </a:cubicBezTo>
                      <a:lnTo>
                        <a:pt x="2096" y="7005"/>
                      </a:lnTo>
                      <a:cubicBezTo>
                        <a:pt x="2096" y="7207"/>
                        <a:pt x="2239" y="7386"/>
                        <a:pt x="2430" y="7457"/>
                      </a:cubicBezTo>
                      <a:lnTo>
                        <a:pt x="2430" y="7648"/>
                      </a:lnTo>
                      <a:cubicBezTo>
                        <a:pt x="2430" y="7922"/>
                        <a:pt x="2632" y="8136"/>
                        <a:pt x="2906" y="8136"/>
                      </a:cubicBezTo>
                      <a:lnTo>
                        <a:pt x="3228" y="8136"/>
                      </a:lnTo>
                      <a:cubicBezTo>
                        <a:pt x="3501" y="8136"/>
                        <a:pt x="3704" y="7922"/>
                        <a:pt x="3704" y="7648"/>
                      </a:cubicBezTo>
                      <a:lnTo>
                        <a:pt x="3704" y="7457"/>
                      </a:lnTo>
                      <a:cubicBezTo>
                        <a:pt x="3906" y="7398"/>
                        <a:pt x="4037" y="7219"/>
                        <a:pt x="4037" y="7005"/>
                      </a:cubicBezTo>
                      <a:lnTo>
                        <a:pt x="4037" y="6017"/>
                      </a:lnTo>
                      <a:cubicBezTo>
                        <a:pt x="4037" y="5826"/>
                        <a:pt x="4144" y="5648"/>
                        <a:pt x="4323" y="5564"/>
                      </a:cubicBezTo>
                      <a:cubicBezTo>
                        <a:pt x="4811" y="5326"/>
                        <a:pt x="5228" y="4969"/>
                        <a:pt x="5537" y="4517"/>
                      </a:cubicBezTo>
                      <a:cubicBezTo>
                        <a:pt x="5847" y="4040"/>
                        <a:pt x="6002" y="3481"/>
                        <a:pt x="6002" y="2921"/>
                      </a:cubicBezTo>
                      <a:cubicBezTo>
                        <a:pt x="6002" y="2100"/>
                        <a:pt x="5644" y="1302"/>
                        <a:pt x="5037" y="754"/>
                      </a:cubicBezTo>
                      <a:cubicBezTo>
                        <a:pt x="4485" y="254"/>
                        <a:pt x="3788" y="0"/>
                        <a:pt x="3056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" name="Google Shape;14506;p84">
                  <a:extLst>
                    <a:ext uri="{FF2B5EF4-FFF2-40B4-BE49-F238E27FC236}">
                      <a16:creationId xmlns:a16="http://schemas.microsoft.com/office/drawing/2014/main" id="{7D1CC743-9F97-B4E2-8071-96704F9FA008}"/>
                    </a:ext>
                  </a:extLst>
                </p:cNvPr>
                <p:cNvSpPr/>
                <p:nvPr/>
              </p:nvSpPr>
              <p:spPr>
                <a:xfrm>
                  <a:off x="7304872" y="3059413"/>
                  <a:ext cx="40583" cy="94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5" h="298" extrusionOk="0">
                      <a:moveTo>
                        <a:pt x="144" y="0"/>
                      </a:moveTo>
                      <a:cubicBezTo>
                        <a:pt x="60" y="0"/>
                        <a:pt x="1" y="72"/>
                        <a:pt x="1" y="143"/>
                      </a:cubicBezTo>
                      <a:cubicBezTo>
                        <a:pt x="1" y="238"/>
                        <a:pt x="72" y="298"/>
                        <a:pt x="144" y="298"/>
                      </a:cubicBezTo>
                      <a:lnTo>
                        <a:pt x="1132" y="298"/>
                      </a:lnTo>
                      <a:cubicBezTo>
                        <a:pt x="1215" y="298"/>
                        <a:pt x="1275" y="215"/>
                        <a:pt x="1275" y="143"/>
                      </a:cubicBezTo>
                      <a:cubicBezTo>
                        <a:pt x="1275" y="72"/>
                        <a:pt x="1203" y="0"/>
                        <a:pt x="1132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" name="Google Shape;14507;p84">
                  <a:extLst>
                    <a:ext uri="{FF2B5EF4-FFF2-40B4-BE49-F238E27FC236}">
                      <a16:creationId xmlns:a16="http://schemas.microsoft.com/office/drawing/2014/main" id="{7A35C40F-C3C0-0D65-CB66-1C080FF810B1}"/>
                    </a:ext>
                  </a:extLst>
                </p:cNvPr>
                <p:cNvSpPr/>
                <p:nvPr/>
              </p:nvSpPr>
              <p:spPr>
                <a:xfrm>
                  <a:off x="7055134" y="3059413"/>
                  <a:ext cx="41347" cy="94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9" h="298" extrusionOk="0">
                      <a:moveTo>
                        <a:pt x="155" y="0"/>
                      </a:moveTo>
                      <a:cubicBezTo>
                        <a:pt x="60" y="0"/>
                        <a:pt x="1" y="72"/>
                        <a:pt x="1" y="143"/>
                      </a:cubicBezTo>
                      <a:cubicBezTo>
                        <a:pt x="1" y="238"/>
                        <a:pt x="72" y="298"/>
                        <a:pt x="155" y="298"/>
                      </a:cubicBezTo>
                      <a:lnTo>
                        <a:pt x="1132" y="298"/>
                      </a:lnTo>
                      <a:cubicBezTo>
                        <a:pt x="1215" y="298"/>
                        <a:pt x="1287" y="215"/>
                        <a:pt x="1287" y="143"/>
                      </a:cubicBezTo>
                      <a:cubicBezTo>
                        <a:pt x="1298" y="72"/>
                        <a:pt x="1227" y="0"/>
                        <a:pt x="1132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" name="Google Shape;14508;p84">
                  <a:extLst>
                    <a:ext uri="{FF2B5EF4-FFF2-40B4-BE49-F238E27FC236}">
                      <a16:creationId xmlns:a16="http://schemas.microsoft.com/office/drawing/2014/main" id="{F6CB78FD-24D6-0D81-0750-E1C43932450E}"/>
                    </a:ext>
                  </a:extLst>
                </p:cNvPr>
                <p:cNvSpPr/>
                <p:nvPr/>
              </p:nvSpPr>
              <p:spPr>
                <a:xfrm>
                  <a:off x="7195727" y="2919170"/>
                  <a:ext cx="9517" cy="405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9" h="1275" extrusionOk="0">
                      <a:moveTo>
                        <a:pt x="156" y="1"/>
                      </a:moveTo>
                      <a:cubicBezTo>
                        <a:pt x="60" y="1"/>
                        <a:pt x="1" y="72"/>
                        <a:pt x="1" y="144"/>
                      </a:cubicBezTo>
                      <a:lnTo>
                        <a:pt x="1" y="1132"/>
                      </a:lnTo>
                      <a:cubicBezTo>
                        <a:pt x="1" y="1215"/>
                        <a:pt x="84" y="1275"/>
                        <a:pt x="156" y="1275"/>
                      </a:cubicBezTo>
                      <a:cubicBezTo>
                        <a:pt x="227" y="1275"/>
                        <a:pt x="299" y="1204"/>
                        <a:pt x="299" y="1132"/>
                      </a:cubicBezTo>
                      <a:lnTo>
                        <a:pt x="299" y="144"/>
                      </a:lnTo>
                      <a:cubicBezTo>
                        <a:pt x="299" y="72"/>
                        <a:pt x="227" y="1"/>
                        <a:pt x="156" y="1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Google Shape;14511;p84">
                  <a:extLst>
                    <a:ext uri="{FF2B5EF4-FFF2-40B4-BE49-F238E27FC236}">
                      <a16:creationId xmlns:a16="http://schemas.microsoft.com/office/drawing/2014/main" id="{D38150AF-2991-13E1-D5C2-2250A106DEFA}"/>
                    </a:ext>
                  </a:extLst>
                </p:cNvPr>
                <p:cNvSpPr/>
                <p:nvPr/>
              </p:nvSpPr>
              <p:spPr>
                <a:xfrm>
                  <a:off x="7249552" y="2951477"/>
                  <a:ext cx="18971" cy="230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6" h="725" extrusionOk="0">
                      <a:moveTo>
                        <a:pt x="417" y="0"/>
                      </a:moveTo>
                      <a:cubicBezTo>
                        <a:pt x="362" y="0"/>
                        <a:pt x="307" y="32"/>
                        <a:pt x="274" y="81"/>
                      </a:cubicBezTo>
                      <a:lnTo>
                        <a:pt x="36" y="498"/>
                      </a:lnTo>
                      <a:cubicBezTo>
                        <a:pt x="1" y="570"/>
                        <a:pt x="24" y="665"/>
                        <a:pt x="96" y="700"/>
                      </a:cubicBezTo>
                      <a:cubicBezTo>
                        <a:pt x="132" y="724"/>
                        <a:pt x="143" y="724"/>
                        <a:pt x="179" y="724"/>
                      </a:cubicBezTo>
                      <a:cubicBezTo>
                        <a:pt x="239" y="724"/>
                        <a:pt x="274" y="689"/>
                        <a:pt x="310" y="641"/>
                      </a:cubicBezTo>
                      <a:lnTo>
                        <a:pt x="548" y="224"/>
                      </a:lnTo>
                      <a:cubicBezTo>
                        <a:pt x="596" y="153"/>
                        <a:pt x="560" y="69"/>
                        <a:pt x="489" y="22"/>
                      </a:cubicBezTo>
                      <a:cubicBezTo>
                        <a:pt x="466" y="7"/>
                        <a:pt x="442" y="0"/>
                        <a:pt x="417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Google Shape;14512;p84">
                  <a:extLst>
                    <a:ext uri="{FF2B5EF4-FFF2-40B4-BE49-F238E27FC236}">
                      <a16:creationId xmlns:a16="http://schemas.microsoft.com/office/drawing/2014/main" id="{E8FD2B7F-9A2C-EE86-C3B2-BEBCB2B9BEBA}"/>
                    </a:ext>
                  </a:extLst>
                </p:cNvPr>
                <p:cNvSpPr/>
                <p:nvPr/>
              </p:nvSpPr>
              <p:spPr>
                <a:xfrm>
                  <a:off x="7132831" y="3153852"/>
                  <a:ext cx="18589" cy="22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4" h="713" extrusionOk="0">
                      <a:moveTo>
                        <a:pt x="419" y="0"/>
                      </a:moveTo>
                      <a:cubicBezTo>
                        <a:pt x="368" y="0"/>
                        <a:pt x="319" y="32"/>
                        <a:pt x="286" y="81"/>
                      </a:cubicBezTo>
                      <a:lnTo>
                        <a:pt x="48" y="498"/>
                      </a:lnTo>
                      <a:cubicBezTo>
                        <a:pt x="0" y="569"/>
                        <a:pt x="36" y="665"/>
                        <a:pt x="108" y="700"/>
                      </a:cubicBezTo>
                      <a:cubicBezTo>
                        <a:pt x="131" y="712"/>
                        <a:pt x="155" y="712"/>
                        <a:pt x="179" y="712"/>
                      </a:cubicBezTo>
                      <a:cubicBezTo>
                        <a:pt x="239" y="712"/>
                        <a:pt x="286" y="689"/>
                        <a:pt x="310" y="641"/>
                      </a:cubicBezTo>
                      <a:lnTo>
                        <a:pt x="548" y="224"/>
                      </a:lnTo>
                      <a:cubicBezTo>
                        <a:pt x="584" y="153"/>
                        <a:pt x="572" y="69"/>
                        <a:pt x="489" y="22"/>
                      </a:cubicBezTo>
                      <a:cubicBezTo>
                        <a:pt x="466" y="7"/>
                        <a:pt x="443" y="0"/>
                        <a:pt x="419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Google Shape;14513;p84">
                  <a:extLst>
                    <a:ext uri="{FF2B5EF4-FFF2-40B4-BE49-F238E27FC236}">
                      <a16:creationId xmlns:a16="http://schemas.microsoft.com/office/drawing/2014/main" id="{E5141C68-F586-53EE-1556-A1CF5D69372F}"/>
                    </a:ext>
                  </a:extLst>
                </p:cNvPr>
                <p:cNvSpPr/>
                <p:nvPr/>
              </p:nvSpPr>
              <p:spPr>
                <a:xfrm>
                  <a:off x="7132449" y="2951477"/>
                  <a:ext cx="18971" cy="230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6" h="725" extrusionOk="0">
                      <a:moveTo>
                        <a:pt x="177" y="0"/>
                      </a:moveTo>
                      <a:cubicBezTo>
                        <a:pt x="154" y="0"/>
                        <a:pt x="130" y="7"/>
                        <a:pt x="108" y="22"/>
                      </a:cubicBezTo>
                      <a:cubicBezTo>
                        <a:pt x="24" y="69"/>
                        <a:pt x="1" y="153"/>
                        <a:pt x="48" y="236"/>
                      </a:cubicBezTo>
                      <a:lnTo>
                        <a:pt x="274" y="653"/>
                      </a:lnTo>
                      <a:cubicBezTo>
                        <a:pt x="310" y="689"/>
                        <a:pt x="358" y="724"/>
                        <a:pt x="417" y="724"/>
                      </a:cubicBezTo>
                      <a:cubicBezTo>
                        <a:pt x="441" y="724"/>
                        <a:pt x="477" y="724"/>
                        <a:pt x="489" y="712"/>
                      </a:cubicBezTo>
                      <a:cubicBezTo>
                        <a:pt x="584" y="665"/>
                        <a:pt x="596" y="570"/>
                        <a:pt x="548" y="498"/>
                      </a:cubicBezTo>
                      <a:lnTo>
                        <a:pt x="310" y="81"/>
                      </a:lnTo>
                      <a:cubicBezTo>
                        <a:pt x="277" y="32"/>
                        <a:pt x="228" y="0"/>
                        <a:pt x="177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Google Shape;14514;p84">
                  <a:extLst>
                    <a:ext uri="{FF2B5EF4-FFF2-40B4-BE49-F238E27FC236}">
                      <a16:creationId xmlns:a16="http://schemas.microsoft.com/office/drawing/2014/main" id="{66F8F35C-6DB3-A75B-8C7B-620AF43AB376}"/>
                    </a:ext>
                  </a:extLst>
                </p:cNvPr>
                <p:cNvSpPr/>
                <p:nvPr/>
              </p:nvSpPr>
              <p:spPr>
                <a:xfrm>
                  <a:off x="7249552" y="3153852"/>
                  <a:ext cx="18971" cy="22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6" h="713" extrusionOk="0">
                      <a:moveTo>
                        <a:pt x="173" y="0"/>
                      </a:moveTo>
                      <a:cubicBezTo>
                        <a:pt x="148" y="0"/>
                        <a:pt x="122" y="7"/>
                        <a:pt x="96" y="22"/>
                      </a:cubicBezTo>
                      <a:cubicBezTo>
                        <a:pt x="24" y="69"/>
                        <a:pt x="1" y="153"/>
                        <a:pt x="36" y="224"/>
                      </a:cubicBezTo>
                      <a:lnTo>
                        <a:pt x="274" y="641"/>
                      </a:lnTo>
                      <a:cubicBezTo>
                        <a:pt x="310" y="689"/>
                        <a:pt x="358" y="712"/>
                        <a:pt x="417" y="712"/>
                      </a:cubicBezTo>
                      <a:cubicBezTo>
                        <a:pt x="441" y="712"/>
                        <a:pt x="477" y="712"/>
                        <a:pt x="489" y="700"/>
                      </a:cubicBezTo>
                      <a:cubicBezTo>
                        <a:pt x="560" y="665"/>
                        <a:pt x="596" y="569"/>
                        <a:pt x="548" y="498"/>
                      </a:cubicBezTo>
                      <a:lnTo>
                        <a:pt x="310" y="81"/>
                      </a:lnTo>
                      <a:cubicBezTo>
                        <a:pt x="277" y="32"/>
                        <a:pt x="228" y="0"/>
                        <a:pt x="173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" name="Google Shape;14515;p84">
                  <a:extLst>
                    <a:ext uri="{FF2B5EF4-FFF2-40B4-BE49-F238E27FC236}">
                      <a16:creationId xmlns:a16="http://schemas.microsoft.com/office/drawing/2014/main" id="{33D9729F-AECD-8DB2-5DA2-50C80CDCC5B5}"/>
                    </a:ext>
                  </a:extLst>
                </p:cNvPr>
                <p:cNvSpPr/>
                <p:nvPr/>
              </p:nvSpPr>
              <p:spPr>
                <a:xfrm>
                  <a:off x="7289721" y="3113969"/>
                  <a:ext cx="24286" cy="170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" h="537" extrusionOk="0">
                      <a:moveTo>
                        <a:pt x="172" y="0"/>
                      </a:moveTo>
                      <a:cubicBezTo>
                        <a:pt x="121" y="0"/>
                        <a:pt x="72" y="29"/>
                        <a:pt x="48" y="84"/>
                      </a:cubicBezTo>
                      <a:cubicBezTo>
                        <a:pt x="1" y="156"/>
                        <a:pt x="24" y="239"/>
                        <a:pt x="108" y="287"/>
                      </a:cubicBezTo>
                      <a:lnTo>
                        <a:pt x="524" y="525"/>
                      </a:lnTo>
                      <a:cubicBezTo>
                        <a:pt x="548" y="537"/>
                        <a:pt x="560" y="537"/>
                        <a:pt x="596" y="537"/>
                      </a:cubicBezTo>
                      <a:cubicBezTo>
                        <a:pt x="655" y="537"/>
                        <a:pt x="703" y="513"/>
                        <a:pt x="727" y="465"/>
                      </a:cubicBezTo>
                      <a:cubicBezTo>
                        <a:pt x="763" y="394"/>
                        <a:pt x="739" y="310"/>
                        <a:pt x="667" y="263"/>
                      </a:cubicBezTo>
                      <a:lnTo>
                        <a:pt x="251" y="25"/>
                      </a:lnTo>
                      <a:cubicBezTo>
                        <a:pt x="226" y="8"/>
                        <a:pt x="199" y="0"/>
                        <a:pt x="172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Google Shape;14516;p84">
                  <a:extLst>
                    <a:ext uri="{FF2B5EF4-FFF2-40B4-BE49-F238E27FC236}">
                      <a16:creationId xmlns:a16="http://schemas.microsoft.com/office/drawing/2014/main" id="{2E37E9AB-962F-49D6-029B-79A583F0D352}"/>
                    </a:ext>
                  </a:extLst>
                </p:cNvPr>
                <p:cNvSpPr/>
                <p:nvPr/>
              </p:nvSpPr>
              <p:spPr>
                <a:xfrm>
                  <a:off x="7086964" y="2996931"/>
                  <a:ext cx="24668" cy="174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5" h="547" extrusionOk="0">
                      <a:moveTo>
                        <a:pt x="179" y="1"/>
                      </a:moveTo>
                      <a:cubicBezTo>
                        <a:pt x="125" y="1"/>
                        <a:pt x="73" y="33"/>
                        <a:pt x="48" y="82"/>
                      </a:cubicBezTo>
                      <a:cubicBezTo>
                        <a:pt x="1" y="154"/>
                        <a:pt x="25" y="249"/>
                        <a:pt x="108" y="285"/>
                      </a:cubicBezTo>
                      <a:lnTo>
                        <a:pt x="525" y="535"/>
                      </a:lnTo>
                      <a:cubicBezTo>
                        <a:pt x="548" y="546"/>
                        <a:pt x="560" y="546"/>
                        <a:pt x="596" y="546"/>
                      </a:cubicBezTo>
                      <a:cubicBezTo>
                        <a:pt x="656" y="546"/>
                        <a:pt x="703" y="511"/>
                        <a:pt x="727" y="475"/>
                      </a:cubicBezTo>
                      <a:cubicBezTo>
                        <a:pt x="775" y="415"/>
                        <a:pt x="739" y="308"/>
                        <a:pt x="668" y="261"/>
                      </a:cubicBezTo>
                      <a:lnTo>
                        <a:pt x="251" y="23"/>
                      </a:lnTo>
                      <a:cubicBezTo>
                        <a:pt x="228" y="8"/>
                        <a:pt x="204" y="1"/>
                        <a:pt x="179" y="1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Google Shape;14517;p84">
                  <a:extLst>
                    <a:ext uri="{FF2B5EF4-FFF2-40B4-BE49-F238E27FC236}">
                      <a16:creationId xmlns:a16="http://schemas.microsoft.com/office/drawing/2014/main" id="{42227A9E-B08C-69B7-5826-335B087EBB50}"/>
                    </a:ext>
                  </a:extLst>
                </p:cNvPr>
                <p:cNvSpPr/>
                <p:nvPr/>
              </p:nvSpPr>
              <p:spPr>
                <a:xfrm>
                  <a:off x="7289339" y="2996931"/>
                  <a:ext cx="24668" cy="174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5" h="547" extrusionOk="0">
                      <a:moveTo>
                        <a:pt x="590" y="1"/>
                      </a:moveTo>
                      <a:cubicBezTo>
                        <a:pt x="565" y="1"/>
                        <a:pt x="539" y="8"/>
                        <a:pt x="513" y="23"/>
                      </a:cubicBezTo>
                      <a:lnTo>
                        <a:pt x="96" y="261"/>
                      </a:lnTo>
                      <a:cubicBezTo>
                        <a:pt x="25" y="308"/>
                        <a:pt x="1" y="392"/>
                        <a:pt x="36" y="475"/>
                      </a:cubicBezTo>
                      <a:cubicBezTo>
                        <a:pt x="72" y="511"/>
                        <a:pt x="108" y="546"/>
                        <a:pt x="179" y="546"/>
                      </a:cubicBezTo>
                      <a:cubicBezTo>
                        <a:pt x="203" y="546"/>
                        <a:pt x="239" y="546"/>
                        <a:pt x="251" y="535"/>
                      </a:cubicBezTo>
                      <a:lnTo>
                        <a:pt x="667" y="285"/>
                      </a:lnTo>
                      <a:cubicBezTo>
                        <a:pt x="751" y="249"/>
                        <a:pt x="775" y="154"/>
                        <a:pt x="727" y="82"/>
                      </a:cubicBezTo>
                      <a:cubicBezTo>
                        <a:pt x="694" y="33"/>
                        <a:pt x="645" y="1"/>
                        <a:pt x="590" y="1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Google Shape;14518;p84">
                  <a:extLst>
                    <a:ext uri="{FF2B5EF4-FFF2-40B4-BE49-F238E27FC236}">
                      <a16:creationId xmlns:a16="http://schemas.microsoft.com/office/drawing/2014/main" id="{D2614063-C8E5-A2E0-728C-2976E0AD1DC4}"/>
                    </a:ext>
                  </a:extLst>
                </p:cNvPr>
                <p:cNvSpPr/>
                <p:nvPr/>
              </p:nvSpPr>
              <p:spPr>
                <a:xfrm>
                  <a:off x="7086964" y="3113587"/>
                  <a:ext cx="24668" cy="170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5" h="537" extrusionOk="0">
                      <a:moveTo>
                        <a:pt x="597" y="0"/>
                      </a:moveTo>
                      <a:cubicBezTo>
                        <a:pt x="570" y="0"/>
                        <a:pt x="541" y="8"/>
                        <a:pt x="513" y="25"/>
                      </a:cubicBezTo>
                      <a:lnTo>
                        <a:pt x="108" y="263"/>
                      </a:lnTo>
                      <a:cubicBezTo>
                        <a:pt x="25" y="299"/>
                        <a:pt x="1" y="394"/>
                        <a:pt x="36" y="465"/>
                      </a:cubicBezTo>
                      <a:cubicBezTo>
                        <a:pt x="72" y="513"/>
                        <a:pt x="120" y="537"/>
                        <a:pt x="179" y="537"/>
                      </a:cubicBezTo>
                      <a:cubicBezTo>
                        <a:pt x="203" y="537"/>
                        <a:pt x="239" y="537"/>
                        <a:pt x="251" y="525"/>
                      </a:cubicBezTo>
                      <a:lnTo>
                        <a:pt x="668" y="287"/>
                      </a:lnTo>
                      <a:cubicBezTo>
                        <a:pt x="739" y="263"/>
                        <a:pt x="775" y="156"/>
                        <a:pt x="727" y="84"/>
                      </a:cubicBezTo>
                      <a:cubicBezTo>
                        <a:pt x="696" y="29"/>
                        <a:pt x="649" y="0"/>
                        <a:pt x="597" y="0"/>
                      </a:cubicBezTo>
                      <a:close/>
                    </a:path>
                  </a:pathLst>
                </a:custGeom>
                <a:grpFill/>
                <a:ln w="38100">
                  <a:solidFill>
                    <a:schemeClr val="tx1"/>
                  </a:solidFill>
                </a:ln>
              </p:spPr>
              <p:txBody>
                <a:bodyPr spcFirstLastPara="1" wrap="square" lIns="137138" tIns="137138" rIns="137138" bIns="137138" anchor="ctr" anchorCtr="0">
                  <a:noAutofit/>
                </a:bodyPr>
                <a:lstStyle/>
                <a:p>
                  <a:endParaRPr sz="2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1" name="TextBox 20"/>
            <p:cNvSpPr txBox="1"/>
            <p:nvPr/>
          </p:nvSpPr>
          <p:spPr>
            <a:xfrm>
              <a:off x="6709740" y="4991100"/>
              <a:ext cx="4863511" cy="1428853"/>
            </a:xfrm>
            <a:prstGeom prst="rect">
              <a:avLst/>
            </a:prstGeom>
            <a:noFill/>
          </p:spPr>
          <p:txBody>
            <a:bodyPr wrap="none" lIns="0" tIns="54864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900"/>
                </a:spcAft>
                <a:buClr>
                  <a:schemeClr val="accent2"/>
                </a:buClr>
                <a:buSzPct val="70000"/>
              </a:pPr>
              <a:r>
                <a:rPr lang="en-US" sz="10500" b="1" dirty="0">
                  <a:solidFill>
                    <a:schemeClr val="accent2"/>
                  </a:solidFill>
                </a:rPr>
                <a:t>Answer</a:t>
              </a: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A5590A19-E6E7-18C2-907A-7D22AC7B24ED}"/>
              </a:ext>
            </a:extLst>
          </p:cNvPr>
          <p:cNvSpPr/>
          <p:nvPr/>
        </p:nvSpPr>
        <p:spPr>
          <a:xfrm>
            <a:off x="714375" y="6574486"/>
            <a:ext cx="16859250" cy="23777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20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title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4F708A5-A2D8-4AD7-B0EC-D0ED4AB4B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392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5</TotalTime>
  <Words>126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Question &amp; Answer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58</cp:revision>
  <dcterms:created xsi:type="dcterms:W3CDTF">2006-08-16T00:00:00Z</dcterms:created>
  <dcterms:modified xsi:type="dcterms:W3CDTF">2025-10-06T09:50:14Z</dcterms:modified>
  <cp:category/>
  <dc:identifier>DAGkDf5R9EM</dc:identifier>
</cp:coreProperties>
</file>